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rapkar, Samruddhi Keshav" userId="e2811a23-a866-4e0d-b17d-0d47cb46b3e9" providerId="ADAL" clId="{EC3F7EBC-2D6A-4084-8EEB-4695768CD2B5}"/>
    <pc:docChg chg="modSld">
      <pc:chgData name="Zarapkar, Samruddhi Keshav" userId="e2811a23-a866-4e0d-b17d-0d47cb46b3e9" providerId="ADAL" clId="{EC3F7EBC-2D6A-4084-8EEB-4695768CD2B5}" dt="2022-09-14T06:48:12.087" v="0" actId="1076"/>
      <pc:docMkLst>
        <pc:docMk/>
      </pc:docMkLst>
      <pc:sldChg chg="modSp">
        <pc:chgData name="Zarapkar, Samruddhi Keshav" userId="e2811a23-a866-4e0d-b17d-0d47cb46b3e9" providerId="ADAL" clId="{EC3F7EBC-2D6A-4084-8EEB-4695768CD2B5}" dt="2022-09-14T06:48:12.087" v="0" actId="1076"/>
        <pc:sldMkLst>
          <pc:docMk/>
          <pc:sldMk cId="3622275861" sldId="1989"/>
        </pc:sldMkLst>
        <pc:picChg chg="mod">
          <ac:chgData name="Zarapkar, Samruddhi Keshav" userId="e2811a23-a866-4e0d-b17d-0d47cb46b3e9" providerId="ADAL" clId="{EC3F7EBC-2D6A-4084-8EEB-4695768CD2B5}" dt="2022-09-14T06:48:12.087" v="0" actId="1076"/>
          <ac:picMkLst>
            <pc:docMk/>
            <pc:sldMk cId="3622275861" sldId="1989"/>
            <ac:picMk id="7181" creationId="{568E79A1-196A-4599-9F1F-AD39B99F1222}"/>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416189336"/>
              </p:ext>
            </p:extLst>
          </p:nvPr>
        </p:nvGraphicFramePr>
        <p:xfrm>
          <a:off x="9242029" y="1500981"/>
          <a:ext cx="3038686" cy="4747419"/>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d</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err="1">
                          <a:ln>
                            <a:noFill/>
                          </a:ln>
                          <a:solidFill>
                            <a:schemeClr val="tx1"/>
                          </a:solidFill>
                          <a:effectLst/>
                          <a:uLnTx/>
                          <a:uFillTx/>
                          <a:latin typeface="+mn-lt"/>
                          <a:ea typeface="+mn-ea"/>
                          <a:cs typeface="+mn-cs"/>
                        </a:rPr>
                        <a:t>Eureka,Netflix</a:t>
                      </a:r>
                      <a:r>
                        <a:rPr kumimoji="0" lang="en-US" sz="700" u="none" strike="noStrike" kern="1200" cap="none" spc="0" normalizeH="0" baseline="0" dirty="0">
                          <a:ln>
                            <a:noFill/>
                          </a:ln>
                          <a:solidFill>
                            <a:schemeClr val="tx1"/>
                          </a:solidFill>
                          <a:effectLst/>
                          <a:uLnTx/>
                          <a:uFillTx/>
                          <a:latin typeface="+mn-lt"/>
                          <a:ea typeface="+mn-ea"/>
                          <a:cs typeface="+mn-cs"/>
                        </a:rPr>
                        <a:t>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a:t>
                      </a:r>
                    </a:p>
                  </a:txBody>
                  <a:tcPr/>
                </a:tc>
                <a:extLst>
                  <a:ext uri="{0D108BD9-81ED-4DB2-BD59-A6C34878D82A}">
                    <a16:rowId xmlns:a16="http://schemas.microsoft.com/office/drawing/2014/main" val="645317192"/>
                  </a:ext>
                </a:extLst>
              </a:tr>
              <a:tr h="58023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31261"/>
            <a:ext cx="4008437" cy="2736056"/>
          </a:xfrm>
        </p:spPr>
        <p:txBody>
          <a:bodyPr/>
          <a:lstStyle/>
          <a:p>
            <a:pPr eaLnBrk="1" hangingPunct="1">
              <a:lnSpc>
                <a:spcPct val="114000"/>
              </a:lnSpc>
            </a:pPr>
            <a:r>
              <a:rPr lang="en-US" altLang="en-US" b="1" dirty="0"/>
              <a:t>On Demand Car Wash Application</a:t>
            </a:r>
          </a:p>
          <a:p>
            <a:pPr eaLnBrk="1" hangingPunct="1">
              <a:lnSpc>
                <a:spcPct val="114000"/>
              </a:lnSpc>
            </a:pPr>
            <a:r>
              <a:rPr lang="en-IN" altLang="en-US" dirty="0"/>
              <a:t>Completed end to end case study of on demand car wash Application along with Swagger and  responsive UI with </a:t>
            </a:r>
            <a:r>
              <a:rPr lang="en-US" altLang="en-US" dirty="0"/>
              <a:t>CSS and Angular used for user interface.</a:t>
            </a:r>
            <a:endParaRPr lang="en-US" altLang="nl-NL" b="1" dirty="0"/>
          </a:p>
          <a:p>
            <a:pPr>
              <a:lnSpc>
                <a:spcPct val="114000"/>
              </a:lnSpc>
            </a:pPr>
            <a:r>
              <a:rPr lang="en-GB" dirty="0"/>
              <a:t>Successful Completion of "</a:t>
            </a:r>
            <a:r>
              <a:rPr lang="en-GB" b="1" dirty="0"/>
              <a:t>Step into Robotic Process </a:t>
            </a:r>
            <a:r>
              <a:rPr lang="en-GB" b="1" dirty="0" err="1"/>
              <a:t>Automation</a:t>
            </a:r>
            <a:r>
              <a:rPr lang="en-GB" dirty="0" err="1"/>
              <a:t>"during</a:t>
            </a:r>
            <a:r>
              <a:rPr lang="en-GB" dirty="0"/>
              <a:t> GUVI's RPA SKILL-A-THON 2020</a:t>
            </a:r>
            <a:endParaRPr lang="en-IN" b="1" dirty="0"/>
          </a:p>
          <a:p>
            <a:pPr>
              <a:lnSpc>
                <a:spcPct val="114000"/>
              </a:lnSpc>
            </a:pPr>
            <a:r>
              <a:rPr lang="en-GB" dirty="0"/>
              <a:t>Certified from APSSDC on completing "</a:t>
            </a:r>
            <a:r>
              <a:rPr lang="en-GB" b="1" dirty="0"/>
              <a:t>Basic Python Programming</a:t>
            </a:r>
            <a:r>
              <a:rPr lang="en-GB" dirty="0"/>
              <a:t>" (06/2020 - 07/2020)</a:t>
            </a:r>
            <a:endParaRPr lang="en-IN" b="1" dirty="0"/>
          </a:p>
          <a:p>
            <a:pPr>
              <a:lnSpc>
                <a:spcPct val="114000"/>
              </a:lnSpc>
            </a:pPr>
            <a:r>
              <a:rPr lang="en-GB" dirty="0"/>
              <a:t>Certified from VEDIC on completing ""</a:t>
            </a:r>
            <a:r>
              <a:rPr lang="en-GB" b="1" dirty="0"/>
              <a:t>Web Development Programming</a:t>
            </a:r>
            <a:r>
              <a:rPr lang="en-GB" dirty="0"/>
              <a:t> " (06/2021)</a:t>
            </a:r>
          </a:p>
          <a:p>
            <a:pPr eaLnBrk="1" hangingPunct="1">
              <a:lnSpc>
                <a:spcPct val="114000"/>
              </a:lnSpc>
            </a:pPr>
            <a:r>
              <a:rPr lang="en-IN" altLang="nl-NL" b="1" dirty="0"/>
              <a:t> AWS Cloud Practitioner Certified</a:t>
            </a:r>
            <a:endParaRPr lang="en-IN" altLang="en-US" dirty="0"/>
          </a:p>
          <a:p>
            <a:pPr>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52868"/>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5063"/>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6119" y="1569123"/>
            <a:ext cx="2828202" cy="276516"/>
          </a:xfrm>
        </p:spPr>
        <p:txBody>
          <a:bodyPr/>
          <a:lstStyle/>
          <a:p>
            <a:pPr eaLnBrk="1" hangingPunct="1"/>
            <a:r>
              <a:rPr lang="nl-NL" altLang="nl-NL" dirty="0"/>
              <a:t>Irrinki-hari.krishn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2256" y="1835162"/>
            <a:ext cx="2382837" cy="330200"/>
          </a:xfrm>
        </p:spPr>
        <p:txBody>
          <a:bodyPr/>
          <a:lstStyle/>
          <a:p>
            <a:pPr eaLnBrk="1" hangingPunct="1"/>
            <a:r>
              <a:rPr lang="nl-NL" altLang="nl-NL" dirty="0"/>
              <a:t>+91 830937537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6024" y="3031261"/>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r>
              <a:rPr lang="en-US" dirty="0" err="1"/>
              <a:t>i</a:t>
            </a:r>
            <a:endParaRPr lang="en-US"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GB" altLang="en-US" dirty="0"/>
              <a:t>I</a:t>
            </a:r>
            <a:r>
              <a:rPr lang="en-IN" altLang="en-US" dirty="0" err="1"/>
              <a:t>rrinki</a:t>
            </a:r>
            <a:r>
              <a:rPr lang="en-IN" altLang="en-US" dirty="0"/>
              <a:t> Hari Krishn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72600" y="642258"/>
            <a:ext cx="33528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and electronics  :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113039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a:extLst>
              <a:ext uri="{FF2B5EF4-FFF2-40B4-BE49-F238E27FC236}">
                <a16:creationId xmlns:a16="http://schemas.microsoft.com/office/drawing/2014/main" id="{B581B84F-FF9E-52C4-D39F-C38B9928E3B9}"/>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t="2119" b="13191"/>
          <a:stretch/>
        </p:blipFill>
        <p:spPr>
          <a:xfrm>
            <a:off x="93516" y="119611"/>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7</TotalTime>
  <Words>336</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rishna, Irrinki Hari</cp:lastModifiedBy>
  <cp:revision>112</cp:revision>
  <dcterms:created xsi:type="dcterms:W3CDTF">2020-09-22T06:24:34Z</dcterms:created>
  <dcterms:modified xsi:type="dcterms:W3CDTF">2022-11-04T03:5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